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113417999" r:id="rId2"/>
    <p:sldId id="256" r:id="rId3"/>
    <p:sldId id="211341799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BFCD0E-6634-4608-A85F-4003BA9D4F0E}" v="1" dt="2023-01-19T22:46:05.5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6" autoAdjust="0"/>
    <p:restoredTop sz="94660"/>
  </p:normalViewPr>
  <p:slideViewPr>
    <p:cSldViewPr snapToGrid="0">
      <p:cViewPr varScale="1">
        <p:scale>
          <a:sx n="61" d="100"/>
          <a:sy n="61" d="100"/>
        </p:scale>
        <p:origin x="84" y="2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ron Bean" userId="cd60c03c-f309-4d67-92f1-4484e1239265" providerId="ADAL" clId="{A0BFCD0E-6634-4608-A85F-4003BA9D4F0E}"/>
    <pc:docChg chg="custSel addSld modSld sldOrd">
      <pc:chgData name="Aaron Bean" userId="cd60c03c-f309-4d67-92f1-4484e1239265" providerId="ADAL" clId="{A0BFCD0E-6634-4608-A85F-4003BA9D4F0E}" dt="2023-01-20T13:57:22.912" v="92" actId="20577"/>
      <pc:docMkLst>
        <pc:docMk/>
      </pc:docMkLst>
      <pc:sldChg chg="modSp mod">
        <pc:chgData name="Aaron Bean" userId="cd60c03c-f309-4d67-92f1-4484e1239265" providerId="ADAL" clId="{A0BFCD0E-6634-4608-A85F-4003BA9D4F0E}" dt="2023-01-19T22:43:36.282" v="3" actId="1076"/>
        <pc:sldMkLst>
          <pc:docMk/>
          <pc:sldMk cId="1276603672" sldId="256"/>
        </pc:sldMkLst>
        <pc:graphicFrameChg chg="mod modGraphic">
          <ac:chgData name="Aaron Bean" userId="cd60c03c-f309-4d67-92f1-4484e1239265" providerId="ADAL" clId="{A0BFCD0E-6634-4608-A85F-4003BA9D4F0E}" dt="2023-01-19T22:43:36.282" v="3" actId="1076"/>
          <ac:graphicFrameMkLst>
            <pc:docMk/>
            <pc:sldMk cId="1276603672" sldId="256"/>
            <ac:graphicFrameMk id="5" creationId="{B86C6A7E-950E-EECA-128D-1CCC3349E657}"/>
          </ac:graphicFrameMkLst>
        </pc:graphicFrameChg>
      </pc:sldChg>
      <pc:sldChg chg="add">
        <pc:chgData name="Aaron Bean" userId="cd60c03c-f309-4d67-92f1-4484e1239265" providerId="ADAL" clId="{A0BFCD0E-6634-4608-A85F-4003BA9D4F0E}" dt="2023-01-19T22:46:05.583" v="4"/>
        <pc:sldMkLst>
          <pc:docMk/>
          <pc:sldMk cId="1210955252" sldId="2113417998"/>
        </pc:sldMkLst>
      </pc:sldChg>
      <pc:sldChg chg="addSp delSp modSp new mod ord modClrScheme chgLayout">
        <pc:chgData name="Aaron Bean" userId="cd60c03c-f309-4d67-92f1-4484e1239265" providerId="ADAL" clId="{A0BFCD0E-6634-4608-A85F-4003BA9D4F0E}" dt="2023-01-20T13:57:22.912" v="92" actId="20577"/>
        <pc:sldMkLst>
          <pc:docMk/>
          <pc:sldMk cId="724062421" sldId="2113417999"/>
        </pc:sldMkLst>
        <pc:spChg chg="del mod ord">
          <ac:chgData name="Aaron Bean" userId="cd60c03c-f309-4d67-92f1-4484e1239265" providerId="ADAL" clId="{A0BFCD0E-6634-4608-A85F-4003BA9D4F0E}" dt="2023-01-20T13:56:58.450" v="8" actId="700"/>
          <ac:spMkLst>
            <pc:docMk/>
            <pc:sldMk cId="724062421" sldId="2113417999"/>
            <ac:spMk id="2" creationId="{E328BCDA-7A14-5C27-5F51-F2280C8B29D0}"/>
          </ac:spMkLst>
        </pc:spChg>
        <pc:spChg chg="add mod ord">
          <ac:chgData name="Aaron Bean" userId="cd60c03c-f309-4d67-92f1-4484e1239265" providerId="ADAL" clId="{A0BFCD0E-6634-4608-A85F-4003BA9D4F0E}" dt="2023-01-20T13:57:08.544" v="25" actId="20577"/>
          <ac:spMkLst>
            <pc:docMk/>
            <pc:sldMk cId="724062421" sldId="2113417999"/>
            <ac:spMk id="3" creationId="{DB50970E-A817-8C8C-E596-EE70A9BF8D18}"/>
          </ac:spMkLst>
        </pc:spChg>
        <pc:spChg chg="add mod ord">
          <ac:chgData name="Aaron Bean" userId="cd60c03c-f309-4d67-92f1-4484e1239265" providerId="ADAL" clId="{A0BFCD0E-6634-4608-A85F-4003BA9D4F0E}" dt="2023-01-20T13:57:22.912" v="92" actId="20577"/>
          <ac:spMkLst>
            <pc:docMk/>
            <pc:sldMk cId="724062421" sldId="2113417999"/>
            <ac:spMk id="4" creationId="{E15ED492-25D7-1318-2CAE-EC14762B0E6C}"/>
          </ac:spMkLst>
        </pc:spChg>
        <pc:spChg chg="add mod ord">
          <ac:chgData name="Aaron Bean" userId="cd60c03c-f309-4d67-92f1-4484e1239265" providerId="ADAL" clId="{A0BFCD0E-6634-4608-A85F-4003BA9D4F0E}" dt="2023-01-20T13:57:03.472" v="10" actId="27636"/>
          <ac:spMkLst>
            <pc:docMk/>
            <pc:sldMk cId="724062421" sldId="2113417999"/>
            <ac:spMk id="5" creationId="{BD2D6555-2B2A-22A9-E550-53B5AFD05236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B50970E-A817-8C8C-E596-EE70A9BF8D1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specting KPI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2D6555-2B2A-22A9-E550-53B5AFD052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15ED492-25D7-1318-2CAE-EC14762B0E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trics to measure the success of your outbound prospecting</a:t>
            </a:r>
          </a:p>
        </p:txBody>
      </p:sp>
    </p:spTree>
    <p:extLst>
      <p:ext uri="{BB962C8B-B14F-4D97-AF65-F5344CB8AC3E}">
        <p14:creationId xmlns:p14="http://schemas.microsoft.com/office/powerpoint/2010/main" val="72406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7EE12B0-67E6-2E7B-3A26-9CCEA963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specting KPI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86C6A7E-950E-EECA-128D-1CCC3349E6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514708"/>
              </p:ext>
            </p:extLst>
          </p:nvPr>
        </p:nvGraphicFramePr>
        <p:xfrm>
          <a:off x="609600" y="1165240"/>
          <a:ext cx="10398034" cy="4800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95490">
                  <a:extLst>
                    <a:ext uri="{9D8B030D-6E8A-4147-A177-3AD203B41FA5}">
                      <a16:colId xmlns:a16="http://schemas.microsoft.com/office/drawing/2014/main" val="2992842924"/>
                    </a:ext>
                  </a:extLst>
                </a:gridCol>
                <a:gridCol w="3723271">
                  <a:extLst>
                    <a:ext uri="{9D8B030D-6E8A-4147-A177-3AD203B41FA5}">
                      <a16:colId xmlns:a16="http://schemas.microsoft.com/office/drawing/2014/main" val="2638946864"/>
                    </a:ext>
                  </a:extLst>
                </a:gridCol>
                <a:gridCol w="4979273">
                  <a:extLst>
                    <a:ext uri="{9D8B030D-6E8A-4147-A177-3AD203B41FA5}">
                      <a16:colId xmlns:a16="http://schemas.microsoft.com/office/drawing/2014/main" val="679407988"/>
                    </a:ext>
                  </a:extLst>
                </a:gridCol>
              </a:tblGrid>
              <a:tr h="354544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etric 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KPI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Defin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2589153"/>
                  </a:ext>
                </a:extLst>
              </a:tr>
              <a:tr h="404144">
                <a:tc rowSpan="6">
                  <a:txBody>
                    <a:bodyPr/>
                    <a:lstStyle/>
                    <a:p>
                      <a:pPr marL="0" lv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ehavioral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4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# of Call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number of calls made per week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3989971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# of Email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number of emails sent per week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6148978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alification Meetings Book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number of meetings booked to qualify </a:t>
                      </a:r>
                      <a:r>
                        <a:rPr lang="en-US" sz="1000" dirty="0" err="1">
                          <a:solidFill>
                            <a:srgbClr val="53565A"/>
                          </a:solidFill>
                        </a:rPr>
                        <a:t>opps</a:t>
                      </a:r>
                      <a:endParaRPr lang="en-US" sz="1000" dirty="0">
                        <a:solidFill>
                          <a:srgbClr val="53565A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341330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alification Meetings Hos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number of meetings held to qualify </a:t>
                      </a:r>
                      <a:r>
                        <a:rPr lang="en-US" sz="1000" dirty="0" err="1">
                          <a:solidFill>
                            <a:srgbClr val="53565A"/>
                          </a:solidFill>
                        </a:rPr>
                        <a:t>opps</a:t>
                      </a:r>
                      <a:endParaRPr lang="en-US" sz="1000" dirty="0">
                        <a:solidFill>
                          <a:srgbClr val="53565A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7636758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DR vs Customer Talk Tim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Percentage of BDR talking time vs customer/prospec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8027568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-assigned MQLs older than 2 day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number of MQLs not assigned in the last 5 day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1294936"/>
                  </a:ext>
                </a:extLst>
              </a:tr>
              <a:tr h="404144">
                <a:tc rowSpan="3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ading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33F4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QLs qualified to S0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utbound S0 Sourc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Number of MQLs converted to S0 and number of S0s created from outbound/ direct effor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8532469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1 Pipeline Generated ($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dollar amount of S1 pipeline generated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1517422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2 Pipeline Generated ($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dollar amount of S2 pipeline opportunities generated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58655058"/>
                  </a:ext>
                </a:extLst>
              </a:tr>
              <a:tr h="404144">
                <a:tc row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gging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enue Book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total $ amount of revenue booked that were qualified and routed by BD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9084772"/>
                  </a:ext>
                </a:extLst>
              </a:tr>
              <a:tr h="404144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1 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Closed Won Conversion Rat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53565A"/>
                          </a:solidFill>
                        </a:rPr>
                        <a:t>The percentage of SDR touched S1 opportunities that result in an order book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1377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603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Schedule a session with your advisor</a:t>
            </a:r>
          </a:p>
          <a:p>
            <a:r>
              <a:rPr lang="en-US" dirty="0"/>
              <a:t>SBI Advisors help clients with practical advice, whether strategic or surgically tactical, to drive revenue and growth. </a:t>
            </a:r>
          </a:p>
          <a:p>
            <a:r>
              <a:rPr lang="en-US" dirty="0"/>
              <a:t>Contact your advisor to schedule a work session and tune this guidance to your situation.</a:t>
            </a:r>
          </a:p>
          <a:p>
            <a:endParaRPr lang="en-US" dirty="0"/>
          </a:p>
          <a:p>
            <a:r>
              <a:rPr lang="en-US" b="1" dirty="0"/>
              <a:t>Login to SBI Pro:</a:t>
            </a:r>
          </a:p>
          <a:p>
            <a:r>
              <a:rPr lang="en-US" dirty="0">
                <a:hlinkClick r:id="rId2"/>
              </a:rPr>
              <a:t>https://pro.sbigrowth.com/</a:t>
            </a:r>
            <a:r>
              <a:rPr lang="en-US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 2023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3" id="{2973FF59-2CA7-4BE5-8527-C7BA434A8EE2}" vid="{7467B64E-5265-4E6E-9CAD-23A1F4D69A0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</TotalTime>
  <Words>250</Words>
  <Application>Microsoft Office PowerPoint</Application>
  <PresentationFormat>Widescreen</PresentationFormat>
  <Paragraphs>3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Avenir Next LT Pro</vt:lpstr>
      <vt:lpstr>Courier New</vt:lpstr>
      <vt:lpstr>SBI PPT 2023</vt:lpstr>
      <vt:lpstr>think-cell Slide</vt:lpstr>
      <vt:lpstr>Prospecting KPIs</vt:lpstr>
      <vt:lpstr>Prospecting KPI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pecting KPIs</dc:title>
  <dc:creator>Aaron Bean</dc:creator>
  <cp:lastModifiedBy>Aaron Bean</cp:lastModifiedBy>
  <cp:revision>1</cp:revision>
  <dcterms:created xsi:type="dcterms:W3CDTF">2023-01-19T22:42:08Z</dcterms:created>
  <dcterms:modified xsi:type="dcterms:W3CDTF">2023-01-20T13:57:25Z</dcterms:modified>
</cp:coreProperties>
</file>